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b" ContentType="application/vnd.ms-excel.sheet.binary.macroEnabled.12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509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0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9092088197146558E-2"/>
          <c:y val="8.2162622392507448E-2"/>
          <c:w val="0.88741893644617376"/>
          <c:h val="0.83567475521498513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dLbls>
            <c:dLbl>
              <c:idx val="0"/>
              <c:layout>
                <c:manualLayout>
                  <c:x val="2.9831387808041506E-2"/>
                  <c:y val="-1.277139208173691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904F-4729-A07B-D9989F439558}"/>
                </c:ext>
              </c:extLst>
            </c:dLbl>
            <c:dLbl>
              <c:idx val="1"/>
              <c:layout>
                <c:manualLayout>
                  <c:x val="0"/>
                  <c:y val="-1.277139208173691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904F-4729-A07B-D9989F439558}"/>
                </c:ext>
              </c:extLst>
            </c:dLbl>
            <c:dLbl>
              <c:idx val="2"/>
              <c:layout>
                <c:manualLayout>
                  <c:x val="0"/>
                  <c:y val="-1.277139208173691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904F-4729-A07B-D9989F439558}"/>
                </c:ext>
              </c:extLst>
            </c:dLbl>
            <c:dLbl>
              <c:idx val="3"/>
              <c:layout>
                <c:manualLayout>
                  <c:x val="0"/>
                  <c:y val="-1.277139208173691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904F-4729-A07B-D9989F439558}"/>
                </c:ext>
              </c:extLst>
            </c:dLbl>
            <c:dLbl>
              <c:idx val="4"/>
              <c:layout>
                <c:manualLayout>
                  <c:x val="-1.7380025940337225E-2"/>
                  <c:y val="-1.277139208173691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904F-4729-A07B-D9989F43955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20.447609653294343</c:v>
                </c:pt>
                <c:pt idx="1">
                  <c:v>32.331208391316459</c:v>
                </c:pt>
                <c:pt idx="2">
                  <c:v>39.883127306645662</c:v>
                </c:pt>
                <c:pt idx="3">
                  <c:v>43.57919386401926</c:v>
                </c:pt>
                <c:pt idx="4">
                  <c:v>42.936376007962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904F-4729-A07B-D9989F439558}"/>
            </c:ext>
          </c:extLst>
        </c:ser>
        <c:ser>
          <c:idx val="1"/>
          <c:order val="1"/>
          <c:spPr>
            <a:solidFill>
              <a:schemeClr val="accent6"/>
            </a:solidFill>
            <a:ln>
              <a:noFill/>
            </a:ln>
          </c:spPr>
          <c:dLbls>
            <c:dLbl>
              <c:idx val="0"/>
              <c:layout>
                <c:manualLayout>
                  <c:x val="2.9312581063553826E-2"/>
                  <c:y val="-1.277139208173691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904F-4729-A07B-D9989F439558}"/>
                </c:ext>
              </c:extLst>
            </c:dLbl>
            <c:dLbl>
              <c:idx val="1"/>
              <c:layout>
                <c:manualLayout>
                  <c:x val="0"/>
                  <c:y val="-1.277139208173691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904F-4729-A07B-D9989F439558}"/>
                </c:ext>
              </c:extLst>
            </c:dLbl>
            <c:dLbl>
              <c:idx val="2"/>
              <c:layout>
                <c:manualLayout>
                  <c:x val="0"/>
                  <c:y val="-1.277139208173691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904F-4729-A07B-D9989F439558}"/>
                </c:ext>
              </c:extLst>
            </c:dLbl>
            <c:dLbl>
              <c:idx val="3"/>
              <c:layout>
                <c:manualLayout>
                  <c:x val="0"/>
                  <c:y val="-1.277139208173691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904F-4729-A07B-D9989F439558}"/>
                </c:ext>
              </c:extLst>
            </c:dLbl>
            <c:dLbl>
              <c:idx val="4"/>
              <c:layout>
                <c:manualLayout>
                  <c:x val="-1.7380025940337225E-2"/>
                  <c:y val="-1.277139208173691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904F-4729-A07B-D9989F43955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E$2</c:f>
              <c:numCache>
                <c:formatCode>General</c:formatCode>
                <c:ptCount val="5"/>
                <c:pt idx="0">
                  <c:v>32.622274005042428</c:v>
                </c:pt>
                <c:pt idx="1">
                  <c:v>25.780349837930039</c:v>
                </c:pt>
                <c:pt idx="2">
                  <c:v>21.654988831054222</c:v>
                </c:pt>
                <c:pt idx="3">
                  <c:v>18.513852586689662</c:v>
                </c:pt>
                <c:pt idx="4">
                  <c:v>18.1262026027151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904F-4729-A07B-D9989F439558}"/>
            </c:ext>
          </c:extLst>
        </c:ser>
        <c:ser>
          <c:idx val="2"/>
          <c:order val="2"/>
          <c:spPr>
            <a:solidFill>
              <a:schemeClr val="accent5"/>
            </a:solidFill>
            <a:ln>
              <a:noFill/>
            </a:ln>
          </c:spPr>
          <c:dLbls>
            <c:dLbl>
              <c:idx val="0"/>
              <c:layout>
                <c:manualLayout>
                  <c:x val="2.9312581063553826E-2"/>
                  <c:y val="-1.277139208173691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904F-4729-A07B-D9989F439558}"/>
                </c:ext>
              </c:extLst>
            </c:dLbl>
            <c:dLbl>
              <c:idx val="1"/>
              <c:layout>
                <c:manualLayout>
                  <c:x val="0"/>
                  <c:y val="-1.277139208173691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904F-4729-A07B-D9989F439558}"/>
                </c:ext>
              </c:extLst>
            </c:dLbl>
            <c:dLbl>
              <c:idx val="2"/>
              <c:layout>
                <c:manualLayout>
                  <c:x val="0"/>
                  <c:y val="-1.277139208173691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904F-4729-A07B-D9989F439558}"/>
                </c:ext>
              </c:extLst>
            </c:dLbl>
            <c:dLbl>
              <c:idx val="3"/>
              <c:layout>
                <c:manualLayout>
                  <c:x val="0"/>
                  <c:y val="-1.277139208173691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904F-4729-A07B-D9989F439558}"/>
                </c:ext>
              </c:extLst>
            </c:dLbl>
            <c:dLbl>
              <c:idx val="4"/>
              <c:layout>
                <c:manualLayout>
                  <c:x val="-1.7380025940337225E-2"/>
                  <c:y val="-1.277139208173691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904F-4729-A07B-D9989F43955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E$3</c:f>
              <c:numCache>
                <c:formatCode>General</c:formatCode>
                <c:ptCount val="5"/>
                <c:pt idx="0">
                  <c:v>32.260345028778801</c:v>
                </c:pt>
                <c:pt idx="1">
                  <c:v>29.412687929684679</c:v>
                </c:pt>
                <c:pt idx="2">
                  <c:v>27.380110163967085</c:v>
                </c:pt>
                <c:pt idx="3">
                  <c:v>27.245639654163543</c:v>
                </c:pt>
                <c:pt idx="4">
                  <c:v>28.1857406339061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904F-4729-A07B-D9989F439558}"/>
            </c:ext>
          </c:extLst>
        </c:ser>
        <c:ser>
          <c:idx val="3"/>
          <c:order val="3"/>
          <c:spPr>
            <a:solidFill>
              <a:schemeClr val="bg2"/>
            </a:solidFill>
            <a:ln>
              <a:noFill/>
            </a:ln>
          </c:spPr>
          <c:dLbls>
            <c:dLbl>
              <c:idx val="0"/>
              <c:layout>
                <c:manualLayout>
                  <c:x val="2.6718547341115433E-2"/>
                  <c:y val="-1.277139208173691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904F-4729-A07B-D9989F439558}"/>
                </c:ext>
              </c:extLst>
            </c:dLbl>
            <c:dLbl>
              <c:idx val="1"/>
              <c:layout>
                <c:manualLayout>
                  <c:x val="0"/>
                  <c:y val="-1.277139208173691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904F-4729-A07B-D9989F439558}"/>
                </c:ext>
              </c:extLst>
            </c:dLbl>
            <c:dLbl>
              <c:idx val="2"/>
              <c:layout>
                <c:manualLayout>
                  <c:x val="0"/>
                  <c:y val="-1.277139208173691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904F-4729-A07B-D9989F439558}"/>
                </c:ext>
              </c:extLst>
            </c:dLbl>
            <c:dLbl>
              <c:idx val="3"/>
              <c:layout>
                <c:manualLayout>
                  <c:x val="0"/>
                  <c:y val="-1.277139208173691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904F-4729-A07B-D9989F439558}"/>
                </c:ext>
              </c:extLst>
            </c:dLbl>
            <c:dLbl>
              <c:idx val="4"/>
              <c:layout>
                <c:manualLayout>
                  <c:x val="-1.7380025940337225E-2"/>
                  <c:y val="-1.277139208173691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6-904F-4729-A07B-D9989F43955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E$4</c:f>
              <c:numCache>
                <c:formatCode>General</c:formatCode>
                <c:ptCount val="5"/>
                <c:pt idx="0">
                  <c:v>14.669771312884428</c:v>
                </c:pt>
                <c:pt idx="1">
                  <c:v>12.475753841068826</c:v>
                </c:pt>
                <c:pt idx="2">
                  <c:v>11.08177369833302</c:v>
                </c:pt>
                <c:pt idx="3">
                  <c:v>10.661313895127533</c:v>
                </c:pt>
                <c:pt idx="4">
                  <c:v>10.7516807554165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7-904F-4729-A07B-D9989F4395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17215504"/>
        <c:axId val="1"/>
      </c:areaChart>
      <c:catAx>
        <c:axId val="31721550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rgbClr val="7F7F7F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bg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317215504"/>
        <c:crosses val="min"/>
        <c:crossBetween val="midCat"/>
        <c:majorUnit val="10"/>
      </c:valAx>
    </c:plotArea>
    <c:plotVisOnly val="0"/>
    <c:dispBlanksAs val="zero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F5442DB-E921-4F3B-A74C-C9212B66B625}" type="datetimeFigureOut">
              <a:rPr lang="zh-CN" altLang="en-US" smtClean="0"/>
              <a:t>2025/9/10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71C560D-DEC6-4293-93D6-18E19977109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968958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37192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4705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6821733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5473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5029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5113205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1286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0149623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3" Type="http://schemas.openxmlformats.org/officeDocument/2006/relationships/tags" Target="../tags/tag6.xml"/><Relationship Id="rId21" Type="http://schemas.openxmlformats.org/officeDocument/2006/relationships/slideLayout" Target="../slideLayouts/slideLayout5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chart" Target="../charts/chart1.xml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0" Type="http://schemas.openxmlformats.org/officeDocument/2006/relationships/tags" Target="../tags/tag23.xml"/><Relationship Id="rId1" Type="http://schemas.openxmlformats.org/officeDocument/2006/relationships/vmlDrawing" Target="../drawings/vmlDrawing5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24" Type="http://schemas.openxmlformats.org/officeDocument/2006/relationships/image" Target="../media/image4.emf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23" Type="http://schemas.openxmlformats.org/officeDocument/2006/relationships/oleObject" Target="../embeddings/oleObject5.bin"/><Relationship Id="rId10" Type="http://schemas.openxmlformats.org/officeDocument/2006/relationships/tags" Target="../tags/tag13.xml"/><Relationship Id="rId19" Type="http://schemas.openxmlformats.org/officeDocument/2006/relationships/tags" Target="../tags/tag22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23" imgW="349" imgH="350" progId="TCLayout.ActiveDocument.1">
                  <p:embed/>
                </p:oleObj>
              </mc:Choice>
              <mc:Fallback>
                <p:oleObj name="think-cell 幻灯片" r:id="rId23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altLang="zh-CN" dirty="0"/>
              <a:t>{title}</a:t>
            </a:r>
            <a:endParaRPr lang="en-US" dirty="0"/>
          </a:p>
        </p:txBody>
      </p:sp>
      <p:graphicFrame>
        <p:nvGraphicFramePr>
          <p:cNvPr id="33" name="Chart 3">
            <a:extLst>
              <a:ext uri="{FF2B5EF4-FFF2-40B4-BE49-F238E27FC236}">
                <a16:creationId xmlns:a16="http://schemas.microsoft.com/office/drawing/2014/main" id="{4CB8AF2F-7683-4DDF-9C56-FD8CDAA587D0}"/>
              </a:ext>
            </a:extLst>
          </p:cNvPr>
          <p:cNvGraphicFramePr/>
          <p:nvPr>
            <p:custDataLst>
              <p:tags r:id="rId3"/>
            </p:custDataLst>
            <p:extLst/>
          </p:nvPr>
        </p:nvGraphicFramePr>
        <p:xfrm>
          <a:off x="258763" y="2001838"/>
          <a:ext cx="6119812" cy="37290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cxnSp>
        <p:nvCxnSpPr>
          <p:cNvPr id="9" name="Straight Connector 93">
            <a:extLst>
              <a:ext uri="{FF2B5EF4-FFF2-40B4-BE49-F238E27FC236}">
                <a16:creationId xmlns:a16="http://schemas.microsoft.com/office/drawing/2014/main" id="{ACE10C9D-8C21-2E37-CC30-DC18BF55C4BC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 bwMode="auto">
          <a:xfrm>
            <a:off x="6300787" y="5424488"/>
            <a:ext cx="104933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94">
            <a:extLst>
              <a:ext uri="{FF2B5EF4-FFF2-40B4-BE49-F238E27FC236}">
                <a16:creationId xmlns:a16="http://schemas.microsoft.com/office/drawing/2014/main" id="{80996F11-3289-B3CF-0B34-98F16F08BCAA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 bwMode="auto">
          <a:xfrm>
            <a:off x="6296025" y="4086225"/>
            <a:ext cx="10541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Straight Connector 95">
            <a:extLst>
              <a:ext uri="{FF2B5EF4-FFF2-40B4-BE49-F238E27FC236}">
                <a16:creationId xmlns:a16="http://schemas.microsoft.com/office/drawing/2014/main" id="{69E1605A-17F9-F178-1D51-0E2D51C16B61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 bwMode="auto">
          <a:xfrm flipV="1">
            <a:off x="7307263" y="4083050"/>
            <a:ext cx="0" cy="1344613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" name="Rectangle 3">
            <a:extLst>
              <a:ext uri="{FF2B5EF4-FFF2-40B4-BE49-F238E27FC236}">
                <a16:creationId xmlns:a16="http://schemas.microsoft.com/office/drawing/2014/main" id="{079D87B7-1F22-09EB-53EE-D3FF3563828F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650875" y="5483225"/>
            <a:ext cx="428625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D6E35BC-74E4-4A8C-AAAD-4168AC52F5DE}" type="datetime'''''''''''''20''''''1''''8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18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5" name="Rectangle 12">
            <a:extLst>
              <a:ext uri="{FF2B5EF4-FFF2-40B4-BE49-F238E27FC236}">
                <a16:creationId xmlns:a16="http://schemas.microsoft.com/office/drawing/2014/main" id="{76455FB2-D5D8-1BE9-FAF7-F673EE68E0C0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1992313" y="5483225"/>
            <a:ext cx="461963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B53C2F5-3345-47F3-9899-3B7E5D4A2802}" type="datetime'''''2''0''''''''''''2''''''''''''''''2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2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6" name="Rectangle 13">
            <a:extLst>
              <a:ext uri="{FF2B5EF4-FFF2-40B4-BE49-F238E27FC236}">
                <a16:creationId xmlns:a16="http://schemas.microsoft.com/office/drawing/2014/main" id="{94B1776D-4FC7-5BDA-99CE-4FBFC05A83F7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3294063" y="5483225"/>
            <a:ext cx="574675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EB880C4-97D1-4254-846E-0ED0C4D7EB7C}" type="datetime'2''0''3''0''''''''''''''''''''''''''''''''F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30F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7" name="Rectangle 22">
            <a:extLst>
              <a:ext uri="{FF2B5EF4-FFF2-40B4-BE49-F238E27FC236}">
                <a16:creationId xmlns:a16="http://schemas.microsoft.com/office/drawing/2014/main" id="{F7D4B52F-5AC9-1867-5133-E8DCDAE21EA3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4652963" y="5483225"/>
            <a:ext cx="573088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B7DEE54-E6CE-4CC6-8381-F6606FCE94A1}" type="datetime'''''''2''''0''3''4''''F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34F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8" name="Rectangle 23">
            <a:extLst>
              <a:ext uri="{FF2B5EF4-FFF2-40B4-BE49-F238E27FC236}">
                <a16:creationId xmlns:a16="http://schemas.microsoft.com/office/drawing/2014/main" id="{B8A9E084-4FCE-64CD-752A-0079DADA14D2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6010275" y="5483225"/>
            <a:ext cx="573088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21E2F38-3F5D-4EA3-90AE-6B83A47A6F6D}" type="datetime'2''''''''''''''''''03''''''''''''8''F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38F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9" name="Oval 92">
            <a:extLst>
              <a:ext uri="{FF2B5EF4-FFF2-40B4-BE49-F238E27FC236}">
                <a16:creationId xmlns:a16="http://schemas.microsoft.com/office/drawing/2014/main" id="{2665E99A-FF5F-9700-A0C3-2DD4442433AF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6327775" y="4495800"/>
            <a:ext cx="1960563" cy="60325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MS target twic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by 2038 (</a:t>
            </a:r>
            <a:fld id="{BD802789-3ECB-4F3A-8893-FECAB7AF1A8D}" type="datetime'''''''+''''''''4''''''''''''''''''''''3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+43</a:t>
            </a:fld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%)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1" name="Rectangle 66">
            <a:extLst>
              <a:ext uri="{FF2B5EF4-FFF2-40B4-BE49-F238E27FC236}">
                <a16:creationId xmlns:a16="http://schemas.microsoft.com/office/drawing/2014/main" id="{B21758E7-D0F2-48C5-E4F0-EFB60AF9C267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911225" y="5778500"/>
            <a:ext cx="250825" cy="187325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2" name="Rectangle 67">
            <a:extLst>
              <a:ext uri="{FF2B5EF4-FFF2-40B4-BE49-F238E27FC236}">
                <a16:creationId xmlns:a16="http://schemas.microsoft.com/office/drawing/2014/main" id="{8602B8A9-6300-CB5E-26CD-71173AD60351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911225" y="6042025"/>
            <a:ext cx="250825" cy="187325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3" name="Rectangle 68">
            <a:extLst>
              <a:ext uri="{FF2B5EF4-FFF2-40B4-BE49-F238E27FC236}">
                <a16:creationId xmlns:a16="http://schemas.microsoft.com/office/drawing/2014/main" id="{BE8D3344-F1E1-6F07-18B9-AD63355C925A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2233613" y="5778500"/>
            <a:ext cx="250825" cy="187325"/>
          </a:xfrm>
          <a:prstGeom prst="rect">
            <a:avLst/>
          </a:prstGeom>
          <a:solidFill>
            <a:schemeClr val="accent6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0" name="Rectangle 69">
            <a:extLst>
              <a:ext uri="{FF2B5EF4-FFF2-40B4-BE49-F238E27FC236}">
                <a16:creationId xmlns:a16="http://schemas.microsoft.com/office/drawing/2014/main" id="{3C8242E9-C1F8-B2A4-8C99-EE4ADD2A9C6A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2233613" y="6042025"/>
            <a:ext cx="250825" cy="1873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4" name="Rectangle 14">
            <a:extLst>
              <a:ext uri="{FF2B5EF4-FFF2-40B4-BE49-F238E27FC236}">
                <a16:creationId xmlns:a16="http://schemas.microsoft.com/office/drawing/2014/main" id="{70355510-9277-D5EC-F46D-4277552D7D9B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1212850" y="5773738"/>
            <a:ext cx="385763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srgbClr val="F2F2F2">
                    <a:lumMod val="10000"/>
                  </a:srgbClr>
                </a:solidFill>
                <a:latin typeface="理想品牌字体 2022"/>
                <a:ea typeface="理想品牌字体 2022"/>
              </a:rPr>
              <a:t>{series_1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5" name="Rectangle 15">
            <a:extLst>
              <a:ext uri="{FF2B5EF4-FFF2-40B4-BE49-F238E27FC236}">
                <a16:creationId xmlns:a16="http://schemas.microsoft.com/office/drawing/2014/main" id="{45A0DBAB-1D2F-4773-93B5-B4BDB83A3AF2}"/>
              </a:ext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1212850" y="6037263"/>
            <a:ext cx="919163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zh-CN" sz="1400" dirty="0">
                <a:solidFill>
                  <a:srgbClr val="F2F2F2">
                    <a:lumMod val="10000"/>
                  </a:srgbClr>
                </a:solidFill>
              </a:rPr>
              <a:t>{series_3}</a:t>
            </a:r>
          </a:p>
        </p:txBody>
      </p:sp>
      <p:sp>
        <p:nvSpPr>
          <p:cNvPr id="27" name="Rectangle 19">
            <a:extLst>
              <a:ext uri="{FF2B5EF4-FFF2-40B4-BE49-F238E27FC236}">
                <a16:creationId xmlns:a16="http://schemas.microsoft.com/office/drawing/2014/main" id="{87FFA17F-8553-7CA7-47BE-130DAD82C99D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 bwMode="auto">
          <a:xfrm>
            <a:off x="2535238" y="5773738"/>
            <a:ext cx="1344613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zh-CN" sz="1400" dirty="0">
                <a:solidFill>
                  <a:srgbClr val="F2F2F2">
                    <a:lumMod val="10000"/>
                  </a:srgbClr>
                </a:solidFill>
              </a:rPr>
              <a:t>{series_2}</a:t>
            </a:r>
          </a:p>
        </p:txBody>
      </p:sp>
      <p:sp>
        <p:nvSpPr>
          <p:cNvPr id="26" name="Rectangle 24">
            <a:extLst>
              <a:ext uri="{FF2B5EF4-FFF2-40B4-BE49-F238E27FC236}">
                <a16:creationId xmlns:a16="http://schemas.microsoft.com/office/drawing/2014/main" id="{99416581-C487-55CD-51D6-1CF48434715C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 bwMode="auto">
          <a:xfrm>
            <a:off x="2535237" y="6037263"/>
            <a:ext cx="156210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zh-CN" sz="1400" dirty="0">
                <a:solidFill>
                  <a:srgbClr val="F2F2F2">
                    <a:lumMod val="10000"/>
                  </a:srgbClr>
                </a:solidFill>
              </a:rPr>
              <a:t>{series_4}</a:t>
            </a:r>
          </a:p>
        </p:txBody>
      </p:sp>
      <p:sp>
        <p:nvSpPr>
          <p:cNvPr id="34" name="Text Placeholder 15">
            <a:extLst>
              <a:ext uri="{FF2B5EF4-FFF2-40B4-BE49-F238E27FC236}">
                <a16:creationId xmlns:a16="http://schemas.microsoft.com/office/drawing/2014/main" id="{DFC07E25-5E7E-C49B-7B82-04742B289DB0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563750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think-cell, chart, charts, graph, graphs, percent, percentage, comment</a:t>
            </a:r>
          </a:p>
        </p:txBody>
      </p:sp>
      <p:sp>
        <p:nvSpPr>
          <p:cNvPr id="8" name="Rechteck 137">
            <a:extLst>
              <a:ext uri="{FF2B5EF4-FFF2-40B4-BE49-F238E27FC236}">
                <a16:creationId xmlns:a16="http://schemas.microsoft.com/office/drawing/2014/main" id="{0D3165E8-D27A-950E-63E0-B3885FB1D993}"/>
              </a:ext>
            </a:extLst>
          </p:cNvPr>
          <p:cNvSpPr>
            <a:spLocks/>
          </p:cNvSpPr>
          <p:nvPr/>
        </p:nvSpPr>
        <p:spPr>
          <a:xfrm>
            <a:off x="8454706" y="1809132"/>
            <a:ext cx="3365819" cy="4248767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subtitle}</a:t>
            </a:r>
          </a:p>
          <a:p>
            <a:pPr marL="180975" marR="0" lvl="1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subtitle_conten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</p:txBody>
      </p:sp>
      <p:grpSp>
        <p:nvGrpSpPr>
          <p:cNvPr id="29" name="tc_columnheader">
            <a:extLst>
              <a:ext uri="{FF2B5EF4-FFF2-40B4-BE49-F238E27FC236}">
                <a16:creationId xmlns:a16="http://schemas.microsoft.com/office/drawing/2014/main" id="{F1A9CEC8-5914-12D7-ADCD-430C4E9BE64C}"/>
              </a:ext>
            </a:extLst>
          </p:cNvPr>
          <p:cNvGrpSpPr/>
          <p:nvPr/>
        </p:nvGrpSpPr>
        <p:grpSpPr>
          <a:xfrm>
            <a:off x="407987" y="1526560"/>
            <a:ext cx="7745413" cy="282573"/>
            <a:chOff x="407988" y="1526560"/>
            <a:chExt cx="5576400" cy="282573"/>
          </a:xfrm>
        </p:grpSpPr>
        <p:sp>
          <p:nvSpPr>
            <p:cNvPr id="30" name="tc_columnhead">
              <a:extLst>
                <a:ext uri="{FF2B5EF4-FFF2-40B4-BE49-F238E27FC236}">
                  <a16:creationId xmlns:a16="http://schemas.microsoft.com/office/drawing/2014/main" id="{FA24202A-8832-5C16-E252-B5A07E6CC1B0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26560"/>
              <a:ext cx="5576400" cy="282573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da-DK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{chart_title}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cxnSp>
          <p:nvCxnSpPr>
            <p:cNvPr id="31" name="tc_columnheadline">
              <a:extLst>
                <a:ext uri="{FF2B5EF4-FFF2-40B4-BE49-F238E27FC236}">
                  <a16:creationId xmlns:a16="http://schemas.microsoft.com/office/drawing/2014/main" id="{40E046F3-574A-5A8E-6F50-E13EE88DCA41}"/>
                </a:ext>
              </a:extLst>
            </p:cNvPr>
            <p:cNvCxnSpPr>
              <a:cxnSpLocks/>
              <a:stCxn id="30" idx="4"/>
              <a:endCxn id="30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2" name="tc_columnheader">
            <a:extLst>
              <a:ext uri="{FF2B5EF4-FFF2-40B4-BE49-F238E27FC236}">
                <a16:creationId xmlns:a16="http://schemas.microsoft.com/office/drawing/2014/main" id="{A425C5EE-9F55-D017-453D-0419135B2984}"/>
              </a:ext>
            </a:extLst>
          </p:cNvPr>
          <p:cNvGrpSpPr/>
          <p:nvPr/>
        </p:nvGrpSpPr>
        <p:grpSpPr>
          <a:xfrm>
            <a:off x="8454707" y="1526560"/>
            <a:ext cx="3365818" cy="282573"/>
            <a:chOff x="407988" y="1526560"/>
            <a:chExt cx="5576400" cy="282573"/>
          </a:xfrm>
        </p:grpSpPr>
        <p:sp>
          <p:nvSpPr>
            <p:cNvPr id="35" name="tc_columnhead">
              <a:extLst>
                <a:ext uri="{FF2B5EF4-FFF2-40B4-BE49-F238E27FC236}">
                  <a16:creationId xmlns:a16="http://schemas.microsoft.com/office/drawing/2014/main" id="{3EDFAC9E-FAD8-A8B0-3422-21CD601A2287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26560"/>
              <a:ext cx="5576400" cy="282573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cxnSp>
          <p:nvCxnSpPr>
            <p:cNvPr id="36" name="tc_columnheadline">
              <a:extLst>
                <a:ext uri="{FF2B5EF4-FFF2-40B4-BE49-F238E27FC236}">
                  <a16:creationId xmlns:a16="http://schemas.microsoft.com/office/drawing/2014/main" id="{2DEB7FD1-2873-8DBF-80DD-5A6B08774FD5}"/>
                </a:ext>
              </a:extLst>
            </p:cNvPr>
            <p:cNvCxnSpPr>
              <a:cxnSpLocks/>
              <a:stCxn id="35" idx="4"/>
              <a:endCxn id="35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Rectangle 18">
            <a:extLst>
              <a:ext uri="{FF2B5EF4-FFF2-40B4-BE49-F238E27FC236}">
                <a16:creationId xmlns:a16="http://schemas.microsoft.com/office/drawing/2014/main" id="{700DE09A-050D-7AF1-3C51-40EDCB7709B4}"/>
              </a:ext>
            </a:extLst>
          </p:cNvPr>
          <p:cNvSpPr>
            <a:spLocks/>
          </p:cNvSpPr>
          <p:nvPr/>
        </p:nvSpPr>
        <p:spPr>
          <a:xfrm>
            <a:off x="8811106" y="-805994"/>
            <a:ext cx="4575600" cy="13653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1524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sng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his slide contains a </a:t>
            </a:r>
            <a:r>
              <a:rPr kumimoji="0" lang="en-US" sz="1200" b="1" i="0" u="sng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hink-cell chart</a:t>
            </a:r>
            <a:r>
              <a:rPr kumimoji="0" lang="en-US" sz="1200" b="0" i="0" u="sng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.</a:t>
            </a:r>
          </a:p>
          <a:p>
            <a:pPr marL="88900" marR="0" lvl="0" indent="-88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o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open the chart's internal datasheet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, double-click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any empty space in the chart.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Arial"/>
            </a:endParaRPr>
          </a:p>
          <a:p>
            <a:pPr marL="88900" marR="0" lvl="0" indent="-88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o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add annotations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(e.g., total labels),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right-click the chart or a chart feature to open the context menu.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Arial"/>
            </a:endParaRPr>
          </a:p>
          <a:p>
            <a:pPr marL="88900" marR="0" lvl="0" indent="-88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o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change the style and formatting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of the chart or a feature,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click the chart or feature to open the mini toolbar.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59851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ZHAaiX4HQ8A_YeEOqXU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y40fcG2_RvMqVX_mlzY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7mvSXYIjgga4Il9yTktj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1yBtrm3AqdjjUilw8iX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_2_Flgfa.Qt.6uEm.YXx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LQzOISnrHsSBgX5Whwr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l5j11jwcZBxEUGVRFiR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6bC1NP0gNVC.3NQAdt8K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wvSiWgftsQWuSGKRX6G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9b4THabn.CHELmawciJN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0UtxEs1ed8pgA3Wti5o2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uPjTC2pbEIukKKIHFlG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LhZJLsZStfmeg50poFc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7rBi3MwbMlJXP.X6uHNr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ep4hEusf.8tVoqh9Ew5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1oYSEoQ3pmMcnrEmX9X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2ZnpwXJxnkSHy87Y9uY2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4cPJ9LRtlSkNd6bF6UTA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159</Words>
  <Application>Microsoft Office PowerPoint</Application>
  <PresentationFormat>宽屏</PresentationFormat>
  <Paragraphs>40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Futura</vt:lpstr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10T07:04:06Z</dcterms:created>
  <dcterms:modified xsi:type="dcterms:W3CDTF">2025-09-10T07:05:09Z</dcterms:modified>
</cp:coreProperties>
</file>